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" id="{3B59CE6B-77D1-4CEA-9F58-B1E3E1124A34}">
          <p14:sldIdLst>
            <p14:sldId id="25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 (elle-la / she-her)" initials="PC((l/sh" userId="S::Carine.Pare@tpsgc-pwgsc.gc.ca::71f88b2f-db4c-4269-9577-1025f7fc6543" providerId="AD"/>
  <p188:author id="{0725D58D-19FC-2C41-5C3A-CFBED0122820}" name="Genereux, Sophie (SPAC/PSPC) (elle-la / she-her)" initials="GS((l/sh" userId="S::Sophie.Genereux@tpsgc-pwgsc.gc.ca::fb217e55-5cbd-4b07-9ec1-a590548adf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3D9E3"/>
    <a:srgbClr val="CAC2BA"/>
    <a:srgbClr val="F1F2ED"/>
    <a:srgbClr val="7C7471"/>
    <a:srgbClr val="8E8E8E"/>
    <a:srgbClr val="AEAEAE"/>
    <a:srgbClr val="3B3838"/>
    <a:srgbClr val="6D6D6D"/>
    <a:srgbClr val="C4870C"/>
    <a:srgbClr val="6AA2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15" autoAdjust="0"/>
    <p:restoredTop sz="94543" autoAdjust="0"/>
  </p:normalViewPr>
  <p:slideViewPr>
    <p:cSldViewPr snapToGrid="0">
      <p:cViewPr varScale="1">
        <p:scale>
          <a:sx n="107" d="100"/>
          <a:sy n="107" d="100"/>
        </p:scale>
        <p:origin x="68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8/10/relationships/authors" Target="authors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34BAEF-2905-41D5-A91B-BF97A4AD45A7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FAC91B-13D0-4577-B25F-6C8B5D0F57E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17843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0320-2FD2-A04F-7CF0-41B04E8AB4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E0832A-B57C-7B6E-3282-9BC5D633F0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92FAE1-7A27-2D16-1F81-7D0D9B9270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4B396D-2301-49F7-3E29-866B34A02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C725CE-B82F-2DD9-0816-8D7ED4AB9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592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B99C0-FCE9-F52A-A332-AA58470A6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1C68446-1618-7A7C-F20E-0CEB2791EE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C0645-44F1-415A-9C85-2DD10A585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615F3E-D6F6-9330-ACF1-06746D1EF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C1A2B-E057-BCA1-D720-62BE4E465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3747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89E5033-32CA-3A31-614A-90F0E7FEA1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0347F4-67AD-ABB5-4030-B7AE25141A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DCAC47-A656-A76B-4ED7-B20510A65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16A91F-DB85-25E7-BC43-E0A178DBA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D34DB6-1105-9DC2-355C-A695584CC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22685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FF1E2-ADC9-3785-55AF-6D4AA07C2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4F993B-C23F-C55F-B292-221E8487D0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51B9D-3CA8-39BB-A7A5-EC142BD05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B7ACD8-481C-275E-3F8C-F1302009F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731A23-F6B5-ADF7-5F61-E0D2BEA6E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67643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72A39-E499-039D-3455-E6192D628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2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0E46B6-A321-3EA9-96EF-6A53DFEDEF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7559F1-E76D-F03D-BAEC-73756F276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EE7F25-9184-E7F7-B0C5-CD9F8C3CD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FE7E8-5BFD-649E-A819-464CBA062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98577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E39DE-6B07-7341-00A3-E7A9E5C3F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BB3F7-6772-3B3C-0FDF-CE78C6CCED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553E8D-466E-EEC1-8F5E-8CCF0D9301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674840-9AF9-B761-717F-EFDF06E27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9A567C-14B8-700D-8635-44EEEFE80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90C6C-F0C3-CAC3-64FD-8820E0A6C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5868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FC23F4-4258-7778-7382-E7C77B812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0915E9-9D2F-4593-FBE0-E7A61D41C9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BE516D-CEEA-BBCA-EA69-06EBA8BF01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D67F19-57E1-A5B0-AAC1-E871815736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B4D611-EF8C-761E-FACE-2CF25F7D1E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3A5129-EDDA-6494-56D9-A8F73E93E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825946-A54F-8B81-45C1-E8B148706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780BA0-56CA-01B8-3183-243F1BA6C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2504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C4329-C192-94A1-B3D3-951CD917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463447-2EFD-616E-2F7A-824BDAE59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3D6332-6BBF-0503-E69D-FB7C4BD28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F291CA-4846-0B27-9C78-D2DA9FAFA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3094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9C81F6D-88BA-23A9-C88E-8A81B5434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46478-5A04-B15D-0F42-3178ABED4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AFEFF8-16DC-0D4A-5063-36C6E11C7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88198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E3AA5-11B8-C4B1-03B7-80015C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0839E9-F7A9-10EF-97B0-9E2E4C154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C19F4B-A91A-4F9C-C303-0B947C3B1C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DFD798-9A01-3BFA-9933-57C4176A98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E9AFD6-CBC2-0E87-C1C3-B7733142E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DA4147-A689-F816-F9B6-CE70B4D8F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95397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B2A09-6D42-A1C9-2219-6C123B1F5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EBDBB6-2E13-6007-3BE4-B720792A22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6" indent="0">
              <a:buNone/>
              <a:defRPr sz="2800"/>
            </a:lvl2pPr>
            <a:lvl3pPr marL="914411" indent="0">
              <a:buNone/>
              <a:defRPr sz="2400"/>
            </a:lvl3pPr>
            <a:lvl4pPr marL="1371617" indent="0">
              <a:buNone/>
              <a:defRPr sz="2000"/>
            </a:lvl4pPr>
            <a:lvl5pPr marL="1828823" indent="0">
              <a:buNone/>
              <a:defRPr sz="2000"/>
            </a:lvl5pPr>
            <a:lvl6pPr marL="2286029" indent="0">
              <a:buNone/>
              <a:defRPr sz="2000"/>
            </a:lvl6pPr>
            <a:lvl7pPr marL="2743234" indent="0">
              <a:buNone/>
              <a:defRPr sz="2000"/>
            </a:lvl7pPr>
            <a:lvl8pPr marL="3200440" indent="0">
              <a:buNone/>
              <a:defRPr sz="2000"/>
            </a:lvl8pPr>
            <a:lvl9pPr marL="3657646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665E6A-91F4-F4D0-96E8-4B9764EEC3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63D81D-E3A6-4A80-0F47-2526CA574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716190-2C90-DE3C-5A34-42EDFEDD4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5024D1-61DE-1AAB-2C63-7098AF617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96547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68373A-BF2B-28E4-6FFE-725DB46F8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C92B2-E118-938A-229B-1D52B5357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F7105D-8B17-1190-A824-CACC921E02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18F658-9915-4698-9F1E-C9FD11FF8CE4}" type="datetimeFigureOut">
              <a:rPr lang="en-CA" smtClean="0"/>
              <a:t>2023-06-0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3193-4B4D-3FDA-F5CC-8BCF50919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A5501-1618-B836-3136-ECCF34DAAD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4090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image" Target="../media/image2.jpg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04A53EE-29A3-C29B-D0C9-3A7466947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55CE3D8-9354-6F57-2BA1-5862C15FF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D66ECED-F5CF-61CB-A4CE-2225D2D135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521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03CB791-FF8C-C170-1E5F-8C9286C1B0C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5C11A35-35C0-4BA1-E858-991E747DF1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7401494-C0B3-6016-30D8-9D81296BE64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11884" y="2389057"/>
            <a:ext cx="5817822" cy="1587701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Community norms for the new workplace 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</a:b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</a:b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Normes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communautaires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 pour le nouveau milieu de travail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Rounded MT Bold" panose="020F0704030504030204" pitchFamily="34" charset="0"/>
              <a:ea typeface="+mj-ea"/>
              <a:cs typeface="+mj-cs"/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09E5A6F-9A82-D8F1-43EE-C1329B310A2C}"/>
              </a:ext>
            </a:extLst>
          </p:cNvPr>
          <p:cNvSpPr txBox="1">
            <a:spLocks/>
          </p:cNvSpPr>
          <p:nvPr/>
        </p:nvSpPr>
        <p:spPr>
          <a:xfrm>
            <a:off x="511884" y="4809099"/>
            <a:ext cx="349408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>
                <a:solidFill>
                  <a:schemeClr val="accent2"/>
                </a:solidFill>
              </a:rPr>
              <a:t>COMING SOON / À VENIR </a:t>
            </a:r>
          </a:p>
          <a:p>
            <a:endParaRPr lang="en-US" dirty="0"/>
          </a:p>
          <a:p>
            <a:r>
              <a:rPr lang="en-US" dirty="0"/>
              <a:t>Version 1</a:t>
            </a:r>
            <a:endParaRPr lang="en-CA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219267-F29D-99FF-0F06-47CA76FC0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7987A5-1865-5D1C-2AF1-4BDABEAE75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13" name="Picture 12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FF2B5EF4-FFF2-40B4-BE49-F238E27FC236}">
                <a16:creationId xmlns:a16="http://schemas.microsoft.com/office/drawing/2014/main" id="{65DDE7E5-4F93-AB06-0A24-94E647621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E624758-5874-24C7-E962-F740B241C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85" y="484212"/>
            <a:ext cx="2267436" cy="77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440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5A895"/>
      </a:accent2>
      <a:accent3>
        <a:srgbClr val="1C9848"/>
      </a:accent3>
      <a:accent4>
        <a:srgbClr val="DF990D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06</TotalTime>
  <Words>23</Words>
  <Application>Microsoft Office PowerPoint</Application>
  <PresentationFormat>Widescreen</PresentationFormat>
  <Paragraphs>4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Rounded MT Bold</vt:lpstr>
      <vt:lpstr>Calibri</vt:lpstr>
      <vt:lpstr>Calibri Light</vt:lpstr>
      <vt:lpstr>Office Theme</vt:lpstr>
      <vt:lpstr>think-cell Slide</vt:lpstr>
      <vt:lpstr>Community norms for the new workplace   Normes communautaires pour le nouveau milieu de travai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nereux, Sophie (SPAC/PSPC) (elle-la / she-her)</dc:creator>
  <cp:lastModifiedBy>Genereux, Sophie (SPAC/PSPC) (elle-la / she-her)</cp:lastModifiedBy>
  <cp:revision>39</cp:revision>
  <dcterms:created xsi:type="dcterms:W3CDTF">2023-04-12T17:09:12Z</dcterms:created>
  <dcterms:modified xsi:type="dcterms:W3CDTF">2023-06-01T17:2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04-12T17:09:12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ce855c87-45d1-45f6-bfda-264aaf46fa04</vt:lpwstr>
  </property>
  <property fmtid="{D5CDD505-2E9C-101B-9397-08002B2CF9AE}" pid="8" name="MSIP_Label_834ed4f5-eae4-40c7-82be-b1cdf720a1b9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UNCLASSIFIED - NON CLASSIFIÉ</vt:lpwstr>
  </property>
  <property fmtid="{D5CDD505-2E9C-101B-9397-08002B2CF9AE}" pid="11" name="_AdHocReviewCycleID">
    <vt:i4>2033076811</vt:i4>
  </property>
  <property fmtid="{D5CDD505-2E9C-101B-9397-08002B2CF9AE}" pid="12" name="_NewReviewCycle">
    <vt:lpwstr/>
  </property>
  <property fmtid="{D5CDD505-2E9C-101B-9397-08002B2CF9AE}" pid="13" name="_EmailSubject">
    <vt:lpwstr>Comm norms poster</vt:lpwstr>
  </property>
  <property fmtid="{D5CDD505-2E9C-101B-9397-08002B2CF9AE}" pid="14" name="_AuthorEmail">
    <vt:lpwstr>Carine.Pare@tpsgc-pwgsc.gc.ca</vt:lpwstr>
  </property>
  <property fmtid="{D5CDD505-2E9C-101B-9397-08002B2CF9AE}" pid="15" name="_AuthorEmailDisplayName">
    <vt:lpwstr>Pare, Carine (SPAC/PSPC) (elle-la / she-her)</vt:lpwstr>
  </property>
  <property fmtid="{D5CDD505-2E9C-101B-9397-08002B2CF9AE}" pid="16" name="_PreviousAdHocReviewCycleID">
    <vt:i4>-1166460090</vt:i4>
  </property>
</Properties>
</file>